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69" r:id="rId2"/>
    <p:sldId id="274" r:id="rId3"/>
    <p:sldId id="273" r:id="rId4"/>
  </p:sldIdLst>
  <p:sldSz cx="6858000" cy="9144000" type="screen4x3"/>
  <p:notesSz cx="6858000" cy="91440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1A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8" d="100"/>
          <a:sy n="18" d="100"/>
        </p:scale>
        <p:origin x="-2584" y="-112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bleStyles" Target="tableStyles.xml"/><Relationship Id="rId12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printerSettings" Target="printerSettings/printerSettings1.bin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96B88-1074-4C31-B83F-61335037AB48}" type="datetimeFigureOut">
              <a:rPr lang="fr-BE" smtClean="0"/>
              <a:t>25/04/19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71713" y="1143000"/>
            <a:ext cx="23145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A1468F-0452-4829-9EAE-1BF7314F8D0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66391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F10586BE-F2E0-44BA-9ACD-7F911751D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54" y="251520"/>
            <a:ext cx="6270065" cy="4867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112A7BD4-1749-4111-857C-DB1E80BD79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854" y="945138"/>
            <a:ext cx="6270065" cy="7267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500">
                <a:solidFill>
                  <a:schemeClr val="tx2"/>
                </a:solidFill>
              </a:defRPr>
            </a:lvl1pPr>
            <a:lvl2pPr>
              <a:defRPr sz="1350">
                <a:solidFill>
                  <a:schemeClr val="tx2"/>
                </a:solidFill>
              </a:defRPr>
            </a:lvl2pPr>
            <a:lvl3pPr>
              <a:defRPr sz="1350">
                <a:solidFill>
                  <a:schemeClr val="tx2"/>
                </a:solidFill>
              </a:defRPr>
            </a:lvl3pPr>
            <a:lvl4pPr>
              <a:defRPr sz="1350">
                <a:solidFill>
                  <a:schemeClr val="tx2"/>
                </a:solidFill>
              </a:defRPr>
            </a:lvl4pPr>
            <a:lvl5pPr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5986117-C511-4155-9C8D-32130CEB3B91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CA143499-3E87-48AB-9342-C924CE084D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60684ED-F166-4350-AAD9-AA0D0FFFC0C1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257E6BF9-2068-4176-922C-C38909278FEA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97A732D6-682A-4548-9885-E7724EA2F74F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xmlns="" id="{250BE662-4B91-4552-A3E1-9EA92B6E2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979665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e UDN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1EBFA2-290E-406E-B7F5-774265A49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68" y="84821"/>
            <a:ext cx="6587211" cy="310716"/>
          </a:xfrm>
        </p:spPr>
        <p:txBody>
          <a:bodyPr>
            <a:normAutofit/>
          </a:bodyPr>
          <a:lstStyle>
            <a:lvl1pPr>
              <a:defRPr sz="1400" b="1"/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D578903-C315-4413-B8D5-0185E3BCBEF0}"/>
              </a:ext>
            </a:extLst>
          </p:cNvPr>
          <p:cNvSpPr/>
          <p:nvPr userDrawn="1"/>
        </p:nvSpPr>
        <p:spPr>
          <a:xfrm>
            <a:off x="32657" y="46441"/>
            <a:ext cx="6804000" cy="9072000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35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689804E1-FF0E-45E1-B03B-92353B6E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68" y="433918"/>
            <a:ext cx="6587211" cy="78413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7F34293-A79E-4E97-89FF-039E1B3A4D85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7521489-8D86-41D3-B5F8-12C5F7344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090" y="8309333"/>
            <a:ext cx="885829" cy="6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358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248BA23-7849-43D0-BEF2-8F8DC1878BE2}"/>
              </a:ext>
            </a:extLst>
          </p:cNvPr>
          <p:cNvSpPr/>
          <p:nvPr userDrawn="1"/>
        </p:nvSpPr>
        <p:spPr>
          <a:xfrm>
            <a:off x="32657" y="251519"/>
            <a:ext cx="6804000" cy="8866921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35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2B705750-C14D-4D41-B4BE-0FDE04E40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780" y="611560"/>
            <a:ext cx="6519139" cy="755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xmlns="" id="{0679C1E4-757F-49B3-BE9D-FCF38015B3CA}"/>
              </a:ext>
            </a:extLst>
          </p:cNvPr>
          <p:cNvSpPr/>
          <p:nvPr userDrawn="1"/>
        </p:nvSpPr>
        <p:spPr>
          <a:xfrm>
            <a:off x="287296" y="107504"/>
            <a:ext cx="5085920" cy="288000"/>
          </a:xfrm>
          <a:prstGeom prst="roundRect">
            <a:avLst/>
          </a:prstGeom>
          <a:solidFill>
            <a:srgbClr val="41A099"/>
          </a:solidFill>
          <a:ln w="15875" cap="flat" cmpd="sng" algn="ctr">
            <a:solidFill>
              <a:srgbClr val="E8BC4A">
                <a:shade val="50000"/>
              </a:srgb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9BDE12A0-45C8-4AFA-903B-272AA461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96" y="84821"/>
            <a:ext cx="4941903" cy="310716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18A99F-AD38-4706-9DB0-D5D26463DF67}"/>
              </a:ext>
            </a:extLst>
          </p:cNvPr>
          <p:cNvSpPr txBox="1"/>
          <p:nvPr userDrawn="1"/>
        </p:nvSpPr>
        <p:spPr>
          <a:xfrm>
            <a:off x="6326238" y="8876991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9DF2AFF-F443-4E3C-A6FD-3766537292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090" y="8309333"/>
            <a:ext cx="885829" cy="6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80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248BA23-7849-43D0-BEF2-8F8DC1878BE2}"/>
              </a:ext>
            </a:extLst>
          </p:cNvPr>
          <p:cNvSpPr/>
          <p:nvPr userDrawn="1"/>
        </p:nvSpPr>
        <p:spPr>
          <a:xfrm>
            <a:off x="32657" y="251519"/>
            <a:ext cx="6804000" cy="8866921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35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2B705750-C14D-4D41-B4BE-0FDE04E40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780" y="611560"/>
            <a:ext cx="6519139" cy="755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xmlns="" id="{0679C1E4-757F-49B3-BE9D-FCF38015B3CA}"/>
              </a:ext>
            </a:extLst>
          </p:cNvPr>
          <p:cNvSpPr/>
          <p:nvPr userDrawn="1"/>
        </p:nvSpPr>
        <p:spPr>
          <a:xfrm>
            <a:off x="287296" y="107504"/>
            <a:ext cx="5085920" cy="288000"/>
          </a:xfrm>
          <a:prstGeom prst="roundRect">
            <a:avLst/>
          </a:prstGeom>
          <a:solidFill>
            <a:srgbClr val="41A099"/>
          </a:solidFill>
          <a:ln w="15875" cap="flat" cmpd="sng" algn="ctr">
            <a:solidFill>
              <a:srgbClr val="E8BC4A">
                <a:shade val="50000"/>
              </a:srgb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9BDE12A0-45C8-4AFA-903B-272AA461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96" y="84821"/>
            <a:ext cx="4941903" cy="310716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9DF2AFF-F443-4E3C-A6FD-3766537292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090" y="8309333"/>
            <a:ext cx="885829" cy="6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0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248BA23-7849-43D0-BEF2-8F8DC1878BE2}"/>
              </a:ext>
            </a:extLst>
          </p:cNvPr>
          <p:cNvSpPr/>
          <p:nvPr userDrawn="1"/>
        </p:nvSpPr>
        <p:spPr>
          <a:xfrm>
            <a:off x="32657" y="251519"/>
            <a:ext cx="6804000" cy="8866921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35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xmlns="" id="{0679C1E4-757F-49B3-BE9D-FCF38015B3CA}"/>
              </a:ext>
            </a:extLst>
          </p:cNvPr>
          <p:cNvSpPr/>
          <p:nvPr userDrawn="1"/>
        </p:nvSpPr>
        <p:spPr>
          <a:xfrm>
            <a:off x="287296" y="107504"/>
            <a:ext cx="5085920" cy="288000"/>
          </a:xfrm>
          <a:prstGeom prst="roundRect">
            <a:avLst/>
          </a:prstGeom>
          <a:solidFill>
            <a:srgbClr val="41A099"/>
          </a:solidFill>
          <a:ln w="15875" cap="flat" cmpd="sng" algn="ctr">
            <a:solidFill>
              <a:srgbClr val="E8BC4A">
                <a:shade val="50000"/>
              </a:srgb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9BDE12A0-45C8-4AFA-903B-272AA461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96" y="84821"/>
            <a:ext cx="4941903" cy="310716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9DF2AFF-F443-4E3C-A6FD-3766537292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090" y="8309333"/>
            <a:ext cx="885829" cy="6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418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55628EC-C76D-45CE-BE09-00F879FAF9F4}"/>
              </a:ext>
            </a:extLst>
          </p:cNvPr>
          <p:cNvSpPr/>
          <p:nvPr userDrawn="1"/>
        </p:nvSpPr>
        <p:spPr>
          <a:xfrm>
            <a:off x="34290" y="289528"/>
            <a:ext cx="6804000" cy="8098896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2B705750-C14D-4D41-B4BE-0FDE04E40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8640" y="611560"/>
            <a:ext cx="6519139" cy="755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xmlns="" id="{0679C1E4-757F-49B3-BE9D-FCF38015B3CA}"/>
              </a:ext>
            </a:extLst>
          </p:cNvPr>
          <p:cNvSpPr/>
          <p:nvPr userDrawn="1"/>
        </p:nvSpPr>
        <p:spPr>
          <a:xfrm>
            <a:off x="287296" y="107504"/>
            <a:ext cx="5085920" cy="288000"/>
          </a:xfrm>
          <a:prstGeom prst="roundRect">
            <a:avLst/>
          </a:prstGeom>
          <a:solidFill>
            <a:srgbClr val="41A099"/>
          </a:solidFill>
          <a:ln w="15875" cap="flat" cmpd="sng" algn="ctr">
            <a:solidFill>
              <a:srgbClr val="E8BC4A">
                <a:shade val="50000"/>
              </a:srgb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9BDE12A0-45C8-4AFA-903B-272AA461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96" y="84821"/>
            <a:ext cx="4941903" cy="310716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D28ED4-6650-407A-9FFD-24CF80E249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525207E-7221-475A-BB2A-08735A95C0C6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3556E8A6-57BC-44EF-8F20-92B6068851B7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59EAE04B-AC36-41E1-8CE3-D58464390E29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A20CD2E9-668B-4267-994B-ED8139EDD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33B7BBB-8197-4AA3-906D-0F58A23995E8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89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984" y="3867773"/>
            <a:ext cx="4978101" cy="1816100"/>
          </a:xfrm>
          <a:prstGeom prst="rect">
            <a:avLst/>
          </a:prstGeom>
        </p:spPr>
        <p:txBody>
          <a:bodyPr anchor="b"/>
          <a:lstStyle>
            <a:lvl1pPr algn="l">
              <a:defRPr sz="3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3984" y="5689601"/>
            <a:ext cx="4978100" cy="202721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EE1B00E-26D2-4D80-9545-350FA0B5F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553AD56-80E5-44A1-AC16-5A9106E9376B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21259D16-1E1A-4536-9392-A77FAF1CEB47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29E704F9-498B-4B1C-83E1-0C82450B3C37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xmlns="" id="{7F0CA4E8-4158-4932-9106-4448476DA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82FA168-9EAA-400B-B773-CB7A9DE58BAE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218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984" y="3867773"/>
            <a:ext cx="4978101" cy="905511"/>
          </a:xfrm>
          <a:prstGeom prst="rect">
            <a:avLst/>
          </a:prstGeom>
        </p:spPr>
        <p:txBody>
          <a:bodyPr anchor="b"/>
          <a:lstStyle>
            <a:lvl1pPr algn="l">
              <a:defRPr sz="3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FEC5AC2-136C-4C3A-905B-613E5117D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7C431EB6-0556-4502-8C3A-C077817B5AEA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0747CE64-ADD3-4A2D-AAA2-7C2FAF901A21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F4D8E249-7CA9-4ACD-B543-5D946B350F28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xmlns="" id="{CFA145A1-6147-4CB5-8D80-8A83CCCE2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09ADEE8-1899-4230-8E03-4083AC22D379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444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FCEA3F45-D853-46F4-BDAC-50E00DE6404F}"/>
              </a:ext>
            </a:extLst>
          </p:cNvPr>
          <p:cNvGrpSpPr/>
          <p:nvPr userDrawn="1"/>
        </p:nvGrpSpPr>
        <p:grpSpPr>
          <a:xfrm>
            <a:off x="-337712" y="-28680"/>
            <a:ext cx="7517286" cy="9144000"/>
            <a:chOff x="-382404" y="0"/>
            <a:chExt cx="9932332" cy="6858000"/>
          </a:xfrm>
          <a:gradFill flip="none" rotWithShape="1">
            <a:gsLst>
              <a:gs pos="24000">
                <a:srgbClr val="41A099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</p:grpSpPr>
        <p:grpSp>
          <p:nvGrpSpPr>
            <p:cNvPr id="6" name="Group 44">
              <a:extLst>
                <a:ext uri="{FF2B5EF4-FFF2-40B4-BE49-F238E27FC236}">
                  <a16:creationId xmlns:a16="http://schemas.microsoft.com/office/drawing/2014/main" xmlns="" id="{D71A85E1-49E7-4B3E-8780-31F6340025CD}"/>
                </a:ext>
              </a:extLst>
            </p:cNvPr>
            <p:cNvGrpSpPr/>
            <p:nvPr/>
          </p:nvGrpSpPr>
          <p:grpSpPr>
            <a:xfrm>
              <a:off x="0" y="0"/>
              <a:ext cx="9144000" cy="6858000"/>
              <a:chOff x="0" y="0"/>
              <a:chExt cx="9144000" cy="6858000"/>
            </a:xfrm>
            <a:grpFill/>
          </p:grpSpPr>
          <p:grpSp>
            <p:nvGrpSpPr>
              <p:cNvPr id="29" name="Group 4">
                <a:extLst>
                  <a:ext uri="{FF2B5EF4-FFF2-40B4-BE49-F238E27FC236}">
                    <a16:creationId xmlns:a16="http://schemas.microsoft.com/office/drawing/2014/main" xmlns="" id="{3D634EFF-BDF7-4A83-AE5D-8B93541B8368}"/>
                  </a:ext>
                </a:extLst>
              </p:cNvPr>
              <p:cNvGrpSpPr/>
              <p:nvPr/>
            </p:nvGrpSpPr>
            <p:grpSpPr>
              <a:xfrm>
                <a:off x="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xmlns="" id="{43E591D3-5E47-422D-8642-C7269AE46165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2" name="Rectangle 2">
                  <a:extLst>
                    <a:ext uri="{FF2B5EF4-FFF2-40B4-BE49-F238E27FC236}">
                      <a16:creationId xmlns:a16="http://schemas.microsoft.com/office/drawing/2014/main" xmlns="" id="{891639CE-77DE-46D4-8D52-4D5B9EE1C47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3" name="Rectangle 3">
                  <a:extLst>
                    <a:ext uri="{FF2B5EF4-FFF2-40B4-BE49-F238E27FC236}">
                      <a16:creationId xmlns:a16="http://schemas.microsoft.com/office/drawing/2014/main" xmlns="" id="{1F81FD15-D997-4EF2-A8D5-A8495E63BD97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  <p:grpSp>
            <p:nvGrpSpPr>
              <p:cNvPr id="30" name="Group 5">
                <a:extLst>
                  <a:ext uri="{FF2B5EF4-FFF2-40B4-BE49-F238E27FC236}">
                    <a16:creationId xmlns:a16="http://schemas.microsoft.com/office/drawing/2014/main" xmlns="" id="{A1F0EC64-64B0-4F96-98EB-530C8F7DED1E}"/>
                  </a:ext>
                </a:extLst>
              </p:cNvPr>
              <p:cNvGrpSpPr/>
              <p:nvPr/>
            </p:nvGrpSpPr>
            <p:grpSpPr>
              <a:xfrm>
                <a:off x="42291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xmlns="" id="{06969776-24A4-434C-A8E3-D0CEE784C2CC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xmlns="" id="{22717350-BA8E-4051-B94D-AD04233A1C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xmlns="" id="{867C1061-954C-4158-AAE8-69D7558697E4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  <p:grpSp>
            <p:nvGrpSpPr>
              <p:cNvPr id="31" name="Group 9">
                <a:extLst>
                  <a:ext uri="{FF2B5EF4-FFF2-40B4-BE49-F238E27FC236}">
                    <a16:creationId xmlns:a16="http://schemas.microsoft.com/office/drawing/2014/main" xmlns="" id="{88F4EF20-0ABC-42F1-96EF-9E859AA31754}"/>
                  </a:ext>
                </a:extLst>
              </p:cNvPr>
              <p:cNvGrpSpPr/>
              <p:nvPr/>
            </p:nvGrpSpPr>
            <p:grpSpPr>
              <a:xfrm rot="10800000">
                <a:off x="662940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xmlns="" id="{92E3515B-58A8-40AA-89ED-AE7C14A1532B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xmlns="" id="{4B2DADD8-126B-4C53-A0D5-4C79E39231D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xmlns="" id="{A266118C-A773-4134-B93B-E1908D7EBD52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xmlns="" id="{C6009FDC-F81C-4BFD-A2E6-230E272EEC29}"/>
                  </a:ext>
                </a:extLst>
              </p:cNvPr>
              <p:cNvSpPr/>
              <p:nvPr/>
            </p:nvSpPr>
            <p:spPr>
              <a:xfrm>
                <a:off x="3810000" y="0"/>
                <a:ext cx="28194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xmlns="" id="{1624E1AA-B664-49DB-98AB-489E4D962DCD}"/>
                  </a:ext>
                </a:extLst>
              </p:cNvPr>
              <p:cNvSpPr/>
              <p:nvPr/>
            </p:nvSpPr>
            <p:spPr>
              <a:xfrm>
                <a:off x="289560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xmlns="" id="{8BB916EC-DE87-4AEF-84FD-D28397E97029}"/>
                  </a:ext>
                </a:extLst>
              </p:cNvPr>
              <p:cNvSpPr/>
              <p:nvPr/>
            </p:nvSpPr>
            <p:spPr>
              <a:xfrm>
                <a:off x="31242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  <p:sp>
          <p:nvSpPr>
            <p:cNvPr id="7" name="Freeform 43">
              <a:extLst>
                <a:ext uri="{FF2B5EF4-FFF2-40B4-BE49-F238E27FC236}">
                  <a16:creationId xmlns:a16="http://schemas.microsoft.com/office/drawing/2014/main" xmlns="" id="{3AD708C6-0D4E-4D34-B127-ADF62536E557}"/>
                </a:ext>
              </a:extLst>
            </p:cNvPr>
            <p:cNvSpPr/>
            <p:nvPr/>
          </p:nvSpPr>
          <p:spPr>
            <a:xfrm>
              <a:off x="-11875" y="5035138"/>
              <a:ext cx="9144000" cy="1175655"/>
            </a:xfrm>
            <a:custGeom>
              <a:avLst/>
              <a:gdLst>
                <a:gd name="connsiteX0" fmla="*/ 0 w 9144000"/>
                <a:gd name="connsiteY0" fmla="*/ 1116280 h 1175656"/>
                <a:gd name="connsiteX1" fmla="*/ 1674420 w 9144000"/>
                <a:gd name="connsiteY1" fmla="*/ 1163781 h 1175656"/>
                <a:gd name="connsiteX2" fmla="*/ 4120737 w 9144000"/>
                <a:gd name="connsiteY2" fmla="*/ 1045028 h 1175656"/>
                <a:gd name="connsiteX3" fmla="*/ 7172696 w 9144000"/>
                <a:gd name="connsiteY3" fmla="*/ 605641 h 1175656"/>
                <a:gd name="connsiteX4" fmla="*/ 9144000 w 9144000"/>
                <a:gd name="connsiteY4" fmla="*/ 0 h 1175656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116279 h 1175655"/>
                <a:gd name="connsiteX1" fmla="*/ 1674420 w 9144000"/>
                <a:gd name="connsiteY1" fmla="*/ 1163780 h 1175655"/>
                <a:gd name="connsiteX2" fmla="*/ 4120737 w 9144000"/>
                <a:gd name="connsiteY2" fmla="*/ 1045027 h 1175655"/>
                <a:gd name="connsiteX3" fmla="*/ 7172696 w 9144000"/>
                <a:gd name="connsiteY3" fmla="*/ 605640 h 1175655"/>
                <a:gd name="connsiteX4" fmla="*/ 9144000 w 9144000"/>
                <a:gd name="connsiteY4" fmla="*/ 0 h 11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1175655">
                  <a:moveTo>
                    <a:pt x="0" y="1116279"/>
                  </a:moveTo>
                  <a:cubicBezTo>
                    <a:pt x="493815" y="1145967"/>
                    <a:pt x="987631" y="1175655"/>
                    <a:pt x="1674420" y="1163780"/>
                  </a:cubicBezTo>
                  <a:cubicBezTo>
                    <a:pt x="2361209" y="1151905"/>
                    <a:pt x="3204358" y="1138050"/>
                    <a:pt x="4120737" y="1045027"/>
                  </a:cubicBezTo>
                  <a:cubicBezTo>
                    <a:pt x="5037116" y="952004"/>
                    <a:pt x="6335486" y="779811"/>
                    <a:pt x="7172696" y="605640"/>
                  </a:cubicBezTo>
                  <a:cubicBezTo>
                    <a:pt x="8009907" y="431469"/>
                    <a:pt x="8866910" y="154379"/>
                    <a:pt x="9144000" y="0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Freeform 44">
              <a:extLst>
                <a:ext uri="{FF2B5EF4-FFF2-40B4-BE49-F238E27FC236}">
                  <a16:creationId xmlns:a16="http://schemas.microsoft.com/office/drawing/2014/main" xmlns="" id="{1E20D1E7-5BCC-4244-8299-9C473F60E62B}"/>
                </a:ext>
              </a:extLst>
            </p:cNvPr>
            <p:cNvSpPr/>
            <p:nvPr/>
          </p:nvSpPr>
          <p:spPr>
            <a:xfrm>
              <a:off x="-11875" y="3467595"/>
              <a:ext cx="9144000" cy="890650"/>
            </a:xfrm>
            <a:custGeom>
              <a:avLst/>
              <a:gdLst>
                <a:gd name="connsiteX0" fmla="*/ 0 w 9144000"/>
                <a:gd name="connsiteY0" fmla="*/ 890650 h 890650"/>
                <a:gd name="connsiteX1" fmla="*/ 1045028 w 9144000"/>
                <a:gd name="connsiteY1" fmla="*/ 475013 h 890650"/>
                <a:gd name="connsiteX2" fmla="*/ 3111335 w 9144000"/>
                <a:gd name="connsiteY2" fmla="*/ 71252 h 890650"/>
                <a:gd name="connsiteX3" fmla="*/ 5913911 w 9144000"/>
                <a:gd name="connsiteY3" fmla="*/ 71252 h 890650"/>
                <a:gd name="connsiteX4" fmla="*/ 9144000 w 9144000"/>
                <a:gd name="connsiteY4" fmla="*/ 498764 h 89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890650">
                  <a:moveTo>
                    <a:pt x="0" y="890650"/>
                  </a:moveTo>
                  <a:cubicBezTo>
                    <a:pt x="263236" y="751114"/>
                    <a:pt x="526472" y="611579"/>
                    <a:pt x="1045028" y="475013"/>
                  </a:cubicBezTo>
                  <a:cubicBezTo>
                    <a:pt x="1563584" y="338447"/>
                    <a:pt x="2299855" y="138545"/>
                    <a:pt x="3111335" y="71252"/>
                  </a:cubicBezTo>
                  <a:cubicBezTo>
                    <a:pt x="3922815" y="3959"/>
                    <a:pt x="4908467" y="0"/>
                    <a:pt x="5913911" y="71252"/>
                  </a:cubicBezTo>
                  <a:cubicBezTo>
                    <a:pt x="6919355" y="142504"/>
                    <a:pt x="8595756" y="427512"/>
                    <a:pt x="9144000" y="498764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xmlns="" id="{9A882FC8-7AA4-44E6-83BF-152C2D001E08}"/>
                </a:ext>
              </a:extLst>
            </p:cNvPr>
            <p:cNvSpPr/>
            <p:nvPr/>
          </p:nvSpPr>
          <p:spPr>
            <a:xfrm>
              <a:off x="-23751" y="5640779"/>
              <a:ext cx="3004457" cy="1211283"/>
            </a:xfrm>
            <a:custGeom>
              <a:avLst/>
              <a:gdLst>
                <a:gd name="connsiteX0" fmla="*/ 0 w 3004457"/>
                <a:gd name="connsiteY0" fmla="*/ 0 h 1211283"/>
                <a:gd name="connsiteX1" fmla="*/ 3004457 w 3004457"/>
                <a:gd name="connsiteY1" fmla="*/ 1211283 h 121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4457" h="1211283">
                  <a:moveTo>
                    <a:pt x="0" y="0"/>
                  </a:moveTo>
                  <a:cubicBezTo>
                    <a:pt x="1103415" y="501732"/>
                    <a:pt x="2206831" y="1003465"/>
                    <a:pt x="3004457" y="1211283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" name="Freeform 46">
              <a:extLst>
                <a:ext uri="{FF2B5EF4-FFF2-40B4-BE49-F238E27FC236}">
                  <a16:creationId xmlns:a16="http://schemas.microsoft.com/office/drawing/2014/main" xmlns="" id="{FCACC445-B0C5-42AE-8474-4309FA65CDB9}"/>
                </a:ext>
              </a:extLst>
            </p:cNvPr>
            <p:cNvSpPr/>
            <p:nvPr/>
          </p:nvSpPr>
          <p:spPr>
            <a:xfrm>
              <a:off x="-11875" y="5284519"/>
              <a:ext cx="9144000" cy="1478478"/>
            </a:xfrm>
            <a:custGeom>
              <a:avLst/>
              <a:gdLst>
                <a:gd name="connsiteX0" fmla="*/ 0 w 9144000"/>
                <a:gd name="connsiteY0" fmla="*/ 0 h 1478478"/>
                <a:gd name="connsiteX1" fmla="*/ 1104405 w 9144000"/>
                <a:gd name="connsiteY1" fmla="*/ 344385 h 1478478"/>
                <a:gd name="connsiteX2" fmla="*/ 3194462 w 9144000"/>
                <a:gd name="connsiteY2" fmla="*/ 866899 h 1478478"/>
                <a:gd name="connsiteX3" fmla="*/ 5676405 w 9144000"/>
                <a:gd name="connsiteY3" fmla="*/ 1282536 h 1478478"/>
                <a:gd name="connsiteX4" fmla="*/ 7730836 w 9144000"/>
                <a:gd name="connsiteY4" fmla="*/ 1448790 h 1478478"/>
                <a:gd name="connsiteX5" fmla="*/ 8573984 w 9144000"/>
                <a:gd name="connsiteY5" fmla="*/ 1460665 h 1478478"/>
                <a:gd name="connsiteX6" fmla="*/ 9144000 w 9144000"/>
                <a:gd name="connsiteY6" fmla="*/ 1425039 h 147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44000" h="1478478">
                  <a:moveTo>
                    <a:pt x="0" y="0"/>
                  </a:moveTo>
                  <a:cubicBezTo>
                    <a:pt x="285997" y="99951"/>
                    <a:pt x="571995" y="199902"/>
                    <a:pt x="1104405" y="344385"/>
                  </a:cubicBezTo>
                  <a:cubicBezTo>
                    <a:pt x="1636815" y="488868"/>
                    <a:pt x="2432462" y="710541"/>
                    <a:pt x="3194462" y="866899"/>
                  </a:cubicBezTo>
                  <a:cubicBezTo>
                    <a:pt x="3956462" y="1023258"/>
                    <a:pt x="4920343" y="1185554"/>
                    <a:pt x="5676405" y="1282536"/>
                  </a:cubicBezTo>
                  <a:cubicBezTo>
                    <a:pt x="6432467" y="1379518"/>
                    <a:pt x="7247906" y="1419102"/>
                    <a:pt x="7730836" y="1448790"/>
                  </a:cubicBezTo>
                  <a:cubicBezTo>
                    <a:pt x="8213766" y="1478478"/>
                    <a:pt x="8338457" y="1464623"/>
                    <a:pt x="8573984" y="1460665"/>
                  </a:cubicBezTo>
                  <a:cubicBezTo>
                    <a:pt x="8809511" y="1456707"/>
                    <a:pt x="8976755" y="1440873"/>
                    <a:pt x="9144000" y="1425039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xmlns="" id="{8493791D-78B1-481B-BF50-C4DC4449C28C}"/>
                </a:ext>
              </a:extLst>
            </p:cNvPr>
            <p:cNvSpPr/>
            <p:nvPr/>
          </p:nvSpPr>
          <p:spPr>
            <a:xfrm>
              <a:off x="2137558" y="5132120"/>
              <a:ext cx="6982691" cy="1719942"/>
            </a:xfrm>
            <a:custGeom>
              <a:avLst/>
              <a:gdLst>
                <a:gd name="connsiteX0" fmla="*/ 0 w 6982691"/>
                <a:gd name="connsiteY0" fmla="*/ 1719942 h 1719942"/>
                <a:gd name="connsiteX1" fmla="*/ 546265 w 6982691"/>
                <a:gd name="connsiteY1" fmla="*/ 1185553 h 1719942"/>
                <a:gd name="connsiteX2" fmla="*/ 1330037 w 6982691"/>
                <a:gd name="connsiteY2" fmla="*/ 710540 h 1719942"/>
                <a:gd name="connsiteX3" fmla="*/ 2078182 w 6982691"/>
                <a:gd name="connsiteY3" fmla="*/ 437407 h 1719942"/>
                <a:gd name="connsiteX4" fmla="*/ 3348842 w 6982691"/>
                <a:gd name="connsiteY4" fmla="*/ 152399 h 1719942"/>
                <a:gd name="connsiteX5" fmla="*/ 4001985 w 6982691"/>
                <a:gd name="connsiteY5" fmla="*/ 69272 h 1719942"/>
                <a:gd name="connsiteX6" fmla="*/ 5047013 w 6982691"/>
                <a:gd name="connsiteY6" fmla="*/ 9896 h 1719942"/>
                <a:gd name="connsiteX7" fmla="*/ 5890161 w 6982691"/>
                <a:gd name="connsiteY7" fmla="*/ 9896 h 1719942"/>
                <a:gd name="connsiteX8" fmla="*/ 6495803 w 6982691"/>
                <a:gd name="connsiteY8" fmla="*/ 9896 h 1719942"/>
                <a:gd name="connsiteX9" fmla="*/ 6899564 w 6982691"/>
                <a:gd name="connsiteY9" fmla="*/ 33646 h 1719942"/>
                <a:gd name="connsiteX10" fmla="*/ 6982691 w 6982691"/>
                <a:gd name="connsiteY10" fmla="*/ 45522 h 171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82691" h="1719942">
                  <a:moveTo>
                    <a:pt x="0" y="1719942"/>
                  </a:moveTo>
                  <a:cubicBezTo>
                    <a:pt x="162296" y="1536864"/>
                    <a:pt x="324592" y="1353787"/>
                    <a:pt x="546265" y="1185553"/>
                  </a:cubicBezTo>
                  <a:cubicBezTo>
                    <a:pt x="767938" y="1017319"/>
                    <a:pt x="1074718" y="835231"/>
                    <a:pt x="1330037" y="710540"/>
                  </a:cubicBezTo>
                  <a:cubicBezTo>
                    <a:pt x="1585356" y="585849"/>
                    <a:pt x="1741715" y="530430"/>
                    <a:pt x="2078182" y="437407"/>
                  </a:cubicBezTo>
                  <a:cubicBezTo>
                    <a:pt x="2414649" y="344384"/>
                    <a:pt x="3028208" y="213755"/>
                    <a:pt x="3348842" y="152399"/>
                  </a:cubicBezTo>
                  <a:cubicBezTo>
                    <a:pt x="3669476" y="91043"/>
                    <a:pt x="3718957" y="93022"/>
                    <a:pt x="4001985" y="69272"/>
                  </a:cubicBezTo>
                  <a:cubicBezTo>
                    <a:pt x="4285013" y="45522"/>
                    <a:pt x="4732317" y="19792"/>
                    <a:pt x="5047013" y="9896"/>
                  </a:cubicBezTo>
                  <a:cubicBezTo>
                    <a:pt x="5361709" y="0"/>
                    <a:pt x="5890161" y="9896"/>
                    <a:pt x="5890161" y="9896"/>
                  </a:cubicBezTo>
                  <a:lnTo>
                    <a:pt x="6495803" y="9896"/>
                  </a:lnTo>
                  <a:cubicBezTo>
                    <a:pt x="6664037" y="13854"/>
                    <a:pt x="6818416" y="27708"/>
                    <a:pt x="6899564" y="33646"/>
                  </a:cubicBezTo>
                  <a:cubicBezTo>
                    <a:pt x="6980712" y="39584"/>
                    <a:pt x="6953003" y="37605"/>
                    <a:pt x="6982691" y="45522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xmlns="" id="{E22125A5-91F5-4234-8A5E-F3997AB66E54}"/>
                </a:ext>
              </a:extLst>
            </p:cNvPr>
            <p:cNvSpPr/>
            <p:nvPr/>
          </p:nvSpPr>
          <p:spPr>
            <a:xfrm rot="1800000">
              <a:off x="2996165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xmlns="" id="{6C09DD35-2D17-4A03-B8DA-347678583CBE}"/>
                </a:ext>
              </a:extLst>
            </p:cNvPr>
            <p:cNvSpPr/>
            <p:nvPr/>
          </p:nvSpPr>
          <p:spPr>
            <a:xfrm rot="1800000">
              <a:off x="3720065" y="41260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xmlns="" id="{983021F1-B6F5-4293-AE5A-D2F5A13569B1}"/>
                </a:ext>
              </a:extLst>
            </p:cNvPr>
            <p:cNvSpPr/>
            <p:nvPr/>
          </p:nvSpPr>
          <p:spPr>
            <a:xfrm rot="1800000">
              <a:off x="3729591" y="159242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xmlns="" id="{1FC33CF0-ADAA-448F-B3C1-1BE965AAA64B}"/>
                </a:ext>
              </a:extLst>
            </p:cNvPr>
            <p:cNvSpPr/>
            <p:nvPr/>
          </p:nvSpPr>
          <p:spPr>
            <a:xfrm rot="1800000">
              <a:off x="2977115" y="32560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xmlns="" id="{2A5BBDAC-6CA5-4088-A555-9B0E9C0AA72B}"/>
                </a:ext>
              </a:extLst>
            </p:cNvPr>
            <p:cNvSpPr/>
            <p:nvPr/>
          </p:nvSpPr>
          <p:spPr>
            <a:xfrm rot="1800000">
              <a:off x="4463014" y="53833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xmlns="" id="{66ABA9A7-53CF-45C3-A9ED-A2A8885E9346}"/>
                </a:ext>
              </a:extLst>
            </p:cNvPr>
            <p:cNvSpPr/>
            <p:nvPr/>
          </p:nvSpPr>
          <p:spPr>
            <a:xfrm rot="1800000">
              <a:off x="-382404" y="4201528"/>
              <a:ext cx="1261499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56357 w 1261499"/>
                <a:gd name="connsiteY5" fmla="*/ 1388236 h 1388236"/>
                <a:gd name="connsiteX6" fmla="*/ 0 w 1261499"/>
                <a:gd name="connsiteY6" fmla="*/ 10509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744578 w 1261499"/>
                <a:gd name="connsiteY5" fmla="*/ 1387893 h 1388236"/>
                <a:gd name="connsiteX6" fmla="*/ 0 w 1261499"/>
                <a:gd name="connsiteY6" fmla="*/ 10509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1499" h="1388236">
                  <a:moveTo>
                    <a:pt x="0" y="105098"/>
                  </a:moveTo>
                  <a:lnTo>
                    <a:pt x="56357" y="0"/>
                  </a:lnTo>
                  <a:lnTo>
                    <a:pt x="865241" y="0"/>
                  </a:lnTo>
                  <a:lnTo>
                    <a:pt x="1261499" y="694118"/>
                  </a:lnTo>
                  <a:lnTo>
                    <a:pt x="865241" y="1388236"/>
                  </a:lnTo>
                  <a:lnTo>
                    <a:pt x="744578" y="1387893"/>
                  </a:lnTo>
                  <a:lnTo>
                    <a:pt x="0" y="10509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xmlns="" id="{B40403B1-59EF-4424-BD23-2552490078D4}"/>
                </a:ext>
              </a:extLst>
            </p:cNvPr>
            <p:cNvSpPr/>
            <p:nvPr/>
          </p:nvSpPr>
          <p:spPr>
            <a:xfrm rot="1800000">
              <a:off x="24365" y="540242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xmlns="" id="{A66EAAC9-ADD7-4F93-817F-A8CC84E25D9C}"/>
                </a:ext>
              </a:extLst>
            </p:cNvPr>
            <p:cNvSpPr/>
            <p:nvPr/>
          </p:nvSpPr>
          <p:spPr>
            <a:xfrm rot="1800000">
              <a:off x="52941" y="28497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xmlns="" id="{2DD315FD-E45F-4673-BFE5-D7BB161AFE70}"/>
                </a:ext>
              </a:extLst>
            </p:cNvPr>
            <p:cNvSpPr/>
            <p:nvPr/>
          </p:nvSpPr>
          <p:spPr>
            <a:xfrm rot="1800000">
              <a:off x="776840" y="412607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xmlns="" id="{14694F88-B582-4BB4-A12E-DA99A1B733A6}"/>
                </a:ext>
              </a:extLst>
            </p:cNvPr>
            <p:cNvSpPr/>
            <p:nvPr/>
          </p:nvSpPr>
          <p:spPr>
            <a:xfrm rot="1800000">
              <a:off x="1510265" y="54119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xmlns="" id="{4E60FFE4-8F23-4429-9031-A315D76CAD90}"/>
                </a:ext>
              </a:extLst>
            </p:cNvPr>
            <p:cNvSpPr/>
            <p:nvPr/>
          </p:nvSpPr>
          <p:spPr>
            <a:xfrm rot="1800000">
              <a:off x="1529316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xmlns="" id="{B15754C7-B21A-40D1-A03F-FBD9C846E465}"/>
                </a:ext>
              </a:extLst>
            </p:cNvPr>
            <p:cNvSpPr/>
            <p:nvPr/>
          </p:nvSpPr>
          <p:spPr>
            <a:xfrm rot="1800000">
              <a:off x="795890" y="15638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xmlns="" id="{9E0A251A-02D8-47B2-AA8D-1D5EE6BE4949}"/>
                </a:ext>
              </a:extLst>
            </p:cNvPr>
            <p:cNvSpPr/>
            <p:nvPr/>
          </p:nvSpPr>
          <p:spPr>
            <a:xfrm rot="1800000">
              <a:off x="6806166" y="41451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xmlns="" id="{18760BDE-4A46-433D-9CEA-5DD287D895CF}"/>
                </a:ext>
              </a:extLst>
            </p:cNvPr>
            <p:cNvSpPr/>
            <p:nvPr/>
          </p:nvSpPr>
          <p:spPr>
            <a:xfrm rot="1800000">
              <a:off x="7549116" y="542147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EC8FFE81-F49B-41A1-8835-AE2EB884D7E4}"/>
                </a:ext>
              </a:extLst>
            </p:cNvPr>
            <p:cNvSpPr/>
            <p:nvPr/>
          </p:nvSpPr>
          <p:spPr>
            <a:xfrm rot="1800000">
              <a:off x="7549117" y="28687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Freeform 98">
              <a:extLst>
                <a:ext uri="{FF2B5EF4-FFF2-40B4-BE49-F238E27FC236}">
                  <a16:creationId xmlns:a16="http://schemas.microsoft.com/office/drawing/2014/main" xmlns="" id="{B069DA57-B90A-4B51-B4FC-D98480DE6A3B}"/>
                </a:ext>
              </a:extLst>
            </p:cNvPr>
            <p:cNvSpPr/>
            <p:nvPr/>
          </p:nvSpPr>
          <p:spPr>
            <a:xfrm rot="1800000">
              <a:off x="8306521" y="4055629"/>
              <a:ext cx="1243407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474029 w 1601400"/>
                <a:gd name="connsiteY2" fmla="*/ 4016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43407"/>
                <a:gd name="connsiteY0" fmla="*/ 694118 h 1388236"/>
                <a:gd name="connsiteX1" fmla="*/ 396258 w 1243407"/>
                <a:gd name="connsiteY1" fmla="*/ 0 h 1388236"/>
                <a:gd name="connsiteX2" fmla="*/ 474029 w 1243407"/>
                <a:gd name="connsiteY2" fmla="*/ 4016 h 1388236"/>
                <a:gd name="connsiteX3" fmla="*/ 1243407 w 1243407"/>
                <a:gd name="connsiteY3" fmla="*/ 1325983 h 1388236"/>
                <a:gd name="connsiteX4" fmla="*/ 1205142 w 1243407"/>
                <a:gd name="connsiteY4" fmla="*/ 1388236 h 1388236"/>
                <a:gd name="connsiteX5" fmla="*/ 396258 w 1243407"/>
                <a:gd name="connsiteY5" fmla="*/ 1388236 h 1388236"/>
                <a:gd name="connsiteX6" fmla="*/ 0 w 1243407"/>
                <a:gd name="connsiteY6" fmla="*/ 69411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3407" h="1388236">
                  <a:moveTo>
                    <a:pt x="0" y="694118"/>
                  </a:moveTo>
                  <a:lnTo>
                    <a:pt x="396258" y="0"/>
                  </a:lnTo>
                  <a:lnTo>
                    <a:pt x="474029" y="4016"/>
                  </a:lnTo>
                  <a:lnTo>
                    <a:pt x="1243407" y="1325983"/>
                  </a:lnTo>
                  <a:lnTo>
                    <a:pt x="1205142" y="1388236"/>
                  </a:lnTo>
                  <a:lnTo>
                    <a:pt x="396258" y="1388236"/>
                  </a:lnTo>
                  <a:lnTo>
                    <a:pt x="0" y="69411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" name="Freeform 99">
              <a:extLst>
                <a:ext uri="{FF2B5EF4-FFF2-40B4-BE49-F238E27FC236}">
                  <a16:creationId xmlns:a16="http://schemas.microsoft.com/office/drawing/2014/main" xmlns="" id="{3BB119D4-A199-40DD-A24A-B6B5EAC40EDE}"/>
                </a:ext>
              </a:extLst>
            </p:cNvPr>
            <p:cNvSpPr/>
            <p:nvPr/>
          </p:nvSpPr>
          <p:spPr>
            <a:xfrm rot="1800000">
              <a:off x="8306771" y="1511524"/>
              <a:ext cx="1241871" cy="1388822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704 h 1388822"/>
                <a:gd name="connsiteX1" fmla="*/ 396258 w 1601400"/>
                <a:gd name="connsiteY1" fmla="*/ 586 h 1388822"/>
                <a:gd name="connsiteX2" fmla="*/ 482002 w 1601400"/>
                <a:gd name="connsiteY2" fmla="*/ 0 h 1388822"/>
                <a:gd name="connsiteX3" fmla="*/ 1601400 w 1601400"/>
                <a:gd name="connsiteY3" fmla="*/ 694704 h 1388822"/>
                <a:gd name="connsiteX4" fmla="*/ 1205142 w 1601400"/>
                <a:gd name="connsiteY4" fmla="*/ 1388822 h 1388822"/>
                <a:gd name="connsiteX5" fmla="*/ 396258 w 1601400"/>
                <a:gd name="connsiteY5" fmla="*/ 1388822 h 1388822"/>
                <a:gd name="connsiteX6" fmla="*/ 0 w 1601400"/>
                <a:gd name="connsiteY6" fmla="*/ 694704 h 1388822"/>
                <a:gd name="connsiteX0" fmla="*/ 0 w 1241871"/>
                <a:gd name="connsiteY0" fmla="*/ 694704 h 1388822"/>
                <a:gd name="connsiteX1" fmla="*/ 396258 w 1241871"/>
                <a:gd name="connsiteY1" fmla="*/ 586 h 1388822"/>
                <a:gd name="connsiteX2" fmla="*/ 482002 w 1241871"/>
                <a:gd name="connsiteY2" fmla="*/ 0 h 1388822"/>
                <a:gd name="connsiteX3" fmla="*/ 1241871 w 1241871"/>
                <a:gd name="connsiteY3" fmla="*/ 1323912 h 1388822"/>
                <a:gd name="connsiteX4" fmla="*/ 1205142 w 1241871"/>
                <a:gd name="connsiteY4" fmla="*/ 1388822 h 1388822"/>
                <a:gd name="connsiteX5" fmla="*/ 396258 w 1241871"/>
                <a:gd name="connsiteY5" fmla="*/ 1388822 h 1388822"/>
                <a:gd name="connsiteX6" fmla="*/ 0 w 1241871"/>
                <a:gd name="connsiteY6" fmla="*/ 694704 h 138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871" h="1388822">
                  <a:moveTo>
                    <a:pt x="0" y="694704"/>
                  </a:moveTo>
                  <a:lnTo>
                    <a:pt x="396258" y="586"/>
                  </a:lnTo>
                  <a:lnTo>
                    <a:pt x="482002" y="0"/>
                  </a:lnTo>
                  <a:lnTo>
                    <a:pt x="1241871" y="1323912"/>
                  </a:lnTo>
                  <a:lnTo>
                    <a:pt x="1205142" y="1388822"/>
                  </a:lnTo>
                  <a:lnTo>
                    <a:pt x="396258" y="1388822"/>
                  </a:lnTo>
                  <a:lnTo>
                    <a:pt x="0" y="694704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984" y="3867773"/>
            <a:ext cx="4978101" cy="905511"/>
          </a:xfrm>
          <a:prstGeom prst="rect">
            <a:avLst/>
          </a:prstGeom>
        </p:spPr>
        <p:txBody>
          <a:bodyPr anchor="b"/>
          <a:lstStyle>
            <a:lvl1pPr algn="l">
              <a:defRPr sz="3000" b="1" cap="none" baseline="0">
                <a:solidFill>
                  <a:schemeClr val="bg1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E98A897C-B596-4AED-ADF2-BFE011596EA2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865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7127" y="2599428"/>
            <a:ext cx="2564892" cy="4991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  <a:p>
            <a:pPr lvl="1"/>
            <a:r>
              <a:rPr lang="nl-BE" dirty="0" err="1"/>
              <a:t>Deuxième</a:t>
            </a:r>
            <a:r>
              <a:rPr lang="nl-BE" dirty="0"/>
              <a:t> niveau</a:t>
            </a:r>
          </a:p>
          <a:p>
            <a:pPr lvl="2"/>
            <a:r>
              <a:rPr lang="nl-BE" dirty="0" err="1"/>
              <a:t>Troisième</a:t>
            </a:r>
            <a:r>
              <a:rPr lang="nl-BE" dirty="0"/>
              <a:t> niveau</a:t>
            </a:r>
          </a:p>
          <a:p>
            <a:pPr lvl="3"/>
            <a:r>
              <a:rPr lang="nl-BE" dirty="0" err="1"/>
              <a:t>Quatrième</a:t>
            </a:r>
            <a:r>
              <a:rPr lang="nl-BE" dirty="0"/>
              <a:t> niveau</a:t>
            </a:r>
          </a:p>
          <a:p>
            <a:pPr lvl="4"/>
            <a:r>
              <a:rPr lang="nl-BE" dirty="0" err="1"/>
              <a:t>Cinquième</a:t>
            </a:r>
            <a:r>
              <a:rPr lang="nl-BE" dirty="0"/>
              <a:t> niveau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2599426"/>
            <a:ext cx="2564892" cy="4991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0133521C-5FBA-4802-8D0D-59E4809BC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54" y="360997"/>
            <a:ext cx="6270065" cy="80053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C1B6F396-614A-4DA3-AE59-A2D2F584DB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B6519B42-F0BF-4D9A-85AB-5927A47129E3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1DB8C57E-BB52-4782-AA5F-86ADC6E3404F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67EE93A8-3531-4CC5-830B-17370791805B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26BAD160-0458-40B7-B74F-0715EB91D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2C68B9A0-D8A2-41B4-AE80-9640009867E2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315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54" y="360997"/>
            <a:ext cx="6270065" cy="80053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EB931F7-A6CB-4889-B4ED-4093FA517505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676A64D0-7854-4E91-BB1F-5C24C8E82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0A7B33B-AF12-4401-9D46-0C73200D3370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5ADA5C16-C3D4-4BBE-A2DA-A518AD66C84F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AF9D00F-716F-4D7E-9884-371DBC3A5E5A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xmlns="" id="{FA490A12-4039-47F7-9FF3-7BEFC9F83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9260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- san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54" y="360997"/>
            <a:ext cx="6270065" cy="80053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F401248-8216-4191-B666-B19255B865CC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003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7BFF7DA-4B0E-4523-9797-5424422AC9D6}"/>
              </a:ext>
            </a:extLst>
          </p:cNvPr>
          <p:cNvSpPr txBox="1"/>
          <p:nvPr userDrawn="1"/>
        </p:nvSpPr>
        <p:spPr>
          <a:xfrm>
            <a:off x="6387208" y="8881050"/>
            <a:ext cx="498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000" smtClean="0">
                <a:solidFill>
                  <a:srgbClr val="246372"/>
                </a:solidFill>
              </a:rPr>
              <a:pPr algn="r"/>
              <a:t>‹#›</a:t>
            </a:fld>
            <a:endParaRPr lang="fr-BE" sz="1000" dirty="0">
              <a:solidFill>
                <a:srgbClr val="24637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03EAA04-B6DD-450F-89B8-7109269E2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61555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0CB9A8E-9505-4C5F-9CEF-1AE043DBE80F}"/>
              </a:ext>
            </a:extLst>
          </p:cNvPr>
          <p:cNvSpPr/>
          <p:nvPr userDrawn="1"/>
        </p:nvSpPr>
        <p:spPr>
          <a:xfrm>
            <a:off x="0" y="846043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A8D5C631-B3B6-4CF4-BEBC-9F64A199F1C3}"/>
              </a:ext>
            </a:extLst>
          </p:cNvPr>
          <p:cNvGrpSpPr/>
          <p:nvPr userDrawn="1"/>
        </p:nvGrpSpPr>
        <p:grpSpPr>
          <a:xfrm>
            <a:off x="220061" y="855423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7572A18B-7CBB-45C7-B94D-F02B4241FC37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xmlns="" id="{EF493037-0601-4F54-A40C-E5B5B16F9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2826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961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3854" y="360997"/>
            <a:ext cx="6270065" cy="80053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854" y="1393665"/>
            <a:ext cx="6270065" cy="6830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21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76" r:id="rId13"/>
    <p:sldLayoutId id="2147483674" r:id="rId14"/>
  </p:sldLayoutIdLs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2250" kern="1200">
          <a:solidFill>
            <a:schemeClr val="accent6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05740" algn="l" defTabSz="685800" rtl="0" eaLnBrk="1" latinLnBrk="0" hangingPunct="1">
        <a:spcBef>
          <a:spcPts val="450"/>
        </a:spcBef>
        <a:buClr>
          <a:schemeClr val="bg1">
            <a:lumMod val="50000"/>
          </a:schemeClr>
        </a:buClr>
        <a:buSzPct val="76000"/>
        <a:buFont typeface="Courier New" panose="02070309020205020404" pitchFamily="49" charset="0"/>
        <a:buChar char="o"/>
        <a:defRPr sz="1500" kern="1200">
          <a:solidFill>
            <a:srgbClr val="24213E"/>
          </a:solidFill>
          <a:latin typeface="+mn-lt"/>
          <a:ea typeface="+mn-ea"/>
          <a:cs typeface="+mn-cs"/>
        </a:defRPr>
      </a:lvl1pPr>
      <a:lvl2pPr marL="480060" indent="-205740" algn="l" defTabSz="6858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350" kern="1200">
          <a:solidFill>
            <a:srgbClr val="24213E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350" kern="1200">
          <a:solidFill>
            <a:srgbClr val="24213E"/>
          </a:solidFill>
          <a:latin typeface="+mn-lt"/>
          <a:ea typeface="+mn-ea"/>
          <a:cs typeface="+mn-cs"/>
        </a:defRPr>
      </a:lvl3pPr>
      <a:lvl4pPr marL="843534" indent="-171450" algn="l" defTabSz="6858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350" kern="1200">
          <a:solidFill>
            <a:srgbClr val="24213E"/>
          </a:solidFill>
          <a:latin typeface="+mn-lt"/>
          <a:ea typeface="+mn-ea"/>
          <a:cs typeface="+mn-cs"/>
        </a:defRPr>
      </a:lvl4pPr>
      <a:lvl5pPr marL="994410" indent="-171450" algn="l" defTabSz="6858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350" kern="1200" baseline="0">
          <a:solidFill>
            <a:srgbClr val="24213E"/>
          </a:solidFill>
          <a:latin typeface="+mn-lt"/>
          <a:ea typeface="+mn-ea"/>
          <a:cs typeface="+mn-cs"/>
        </a:defRPr>
      </a:lvl5pPr>
      <a:lvl6pPr marL="1138428" indent="-171450" algn="l" defTabSz="6858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050" kern="1200">
          <a:solidFill>
            <a:schemeClr val="tx2"/>
          </a:solidFill>
          <a:latin typeface="+mn-lt"/>
          <a:ea typeface="+mn-ea"/>
          <a:cs typeface="+mn-cs"/>
        </a:defRPr>
      </a:lvl6pPr>
      <a:lvl7pPr marL="1289304" indent="-171450" algn="l" defTabSz="6858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050" kern="1200">
          <a:solidFill>
            <a:schemeClr val="tx2"/>
          </a:solidFill>
          <a:latin typeface="+mn-lt"/>
          <a:ea typeface="+mn-ea"/>
          <a:cs typeface="+mn-cs"/>
        </a:defRPr>
      </a:lvl7pPr>
      <a:lvl8pPr marL="1440180" indent="-171450" algn="l" defTabSz="6858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050" kern="1200">
          <a:solidFill>
            <a:schemeClr val="tx2"/>
          </a:solidFill>
          <a:latin typeface="+mn-lt"/>
          <a:ea typeface="+mn-ea"/>
          <a:cs typeface="+mn-cs"/>
        </a:defRPr>
      </a:lvl8pPr>
      <a:lvl9pPr marL="1591056" indent="-171450" algn="l" defTabSz="6858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05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5.emf"/><Relationship Id="rId6" Type="http://schemas.openxmlformats.org/officeDocument/2006/relationships/image" Target="../media/image6.png"/><Relationship Id="rId7" Type="http://schemas.openxmlformats.org/officeDocument/2006/relationships/image" Target="../media/image7.jpe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6" Type="http://schemas.openxmlformats.org/officeDocument/2006/relationships/image" Target="../media/image7.jpeg"/><Relationship Id="rId7" Type="http://schemas.openxmlformats.org/officeDocument/2006/relationships/image" Target="../media/image8.png"/><Relationship Id="rId8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6" Type="http://schemas.openxmlformats.org/officeDocument/2006/relationships/image" Target="../media/image9.png"/><Relationship Id="rId7" Type="http://schemas.openxmlformats.org/officeDocument/2006/relationships/image" Target="../media/image7.jpeg"/><Relationship Id="rId8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6586B94E-4C08-4478-9D83-83B715F19D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024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34481491-22A4-436D-AB64-7612CE204AD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903" y="1763690"/>
            <a:ext cx="6876904" cy="349749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FCE5038-DF9E-4B3F-B2B1-4374C9D0650A}"/>
              </a:ext>
            </a:extLst>
          </p:cNvPr>
          <p:cNvSpPr/>
          <p:nvPr/>
        </p:nvSpPr>
        <p:spPr>
          <a:xfrm>
            <a:off x="-14504" y="1763690"/>
            <a:ext cx="6839096" cy="388768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pic>
        <p:nvPicPr>
          <p:cNvPr id="10" name="Titelbalk.jpg">
            <a:extLst>
              <a:ext uri="{FF2B5EF4-FFF2-40B4-BE49-F238E27FC236}">
                <a16:creationId xmlns:a16="http://schemas.microsoft.com/office/drawing/2014/main" xmlns="" id="{512310EB-0DB6-4C30-8D43-2B0D35BD0DA2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/>
          </a:blip>
          <a:srcRect l="-1" r="-231"/>
          <a:stretch/>
        </p:blipFill>
        <p:spPr>
          <a:xfrm>
            <a:off x="-47913" y="3258428"/>
            <a:ext cx="6905914" cy="8283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xmlns="" id="{C1CCCFB2-1F53-42A8-9EBF-94E24A36E1F0}"/>
              </a:ext>
            </a:extLst>
          </p:cNvPr>
          <p:cNvSpPr txBox="1">
            <a:spLocks/>
          </p:cNvSpPr>
          <p:nvPr/>
        </p:nvSpPr>
        <p:spPr>
          <a:xfrm>
            <a:off x="219128" y="256692"/>
            <a:ext cx="3452337" cy="8238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24637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onférenc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xmlns="" id="{3426153B-898B-489B-ACB2-B16CD59AB596}"/>
              </a:ext>
            </a:extLst>
          </p:cNvPr>
          <p:cNvSpPr txBox="1">
            <a:spLocks/>
          </p:cNvSpPr>
          <p:nvPr/>
        </p:nvSpPr>
        <p:spPr>
          <a:xfrm>
            <a:off x="527851" y="1430322"/>
            <a:ext cx="5754383" cy="146806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225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sz="4800" dirty="0">
                <a:solidFill>
                  <a:srgbClr val="CC5439"/>
                </a:solidFill>
              </a:rPr>
              <a:t>Nutrithérapie </a:t>
            </a:r>
            <a:br>
              <a:rPr lang="fr-FR" sz="4800" dirty="0">
                <a:solidFill>
                  <a:srgbClr val="CC5439"/>
                </a:solidFill>
              </a:rPr>
            </a:br>
            <a:r>
              <a:rPr lang="fr-FR" sz="4800" dirty="0">
                <a:solidFill>
                  <a:srgbClr val="CC5439"/>
                </a:solidFill>
              </a:rPr>
              <a:t>	&amp; Prévention Santé</a:t>
            </a:r>
            <a:endParaRPr lang="fr-BE" sz="4800" dirty="0"/>
          </a:p>
        </p:txBody>
      </p:sp>
      <p:pic>
        <p:nvPicPr>
          <p:cNvPr id="14" name="Capture d’écran 2017-04-25 à 21.19.02.png">
            <a:extLst>
              <a:ext uri="{FF2B5EF4-FFF2-40B4-BE49-F238E27FC236}">
                <a16:creationId xmlns:a16="http://schemas.microsoft.com/office/drawing/2014/main" xmlns="" id="{B2B986D1-9351-4F47-9081-32CA796310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4715056" y="381367"/>
            <a:ext cx="1643246" cy="804409"/>
          </a:xfrm>
          <a:prstGeom prst="rect">
            <a:avLst/>
          </a:prstGeom>
        </p:spPr>
      </p:pic>
      <p:sp>
        <p:nvSpPr>
          <p:cNvPr id="15" name="Subtitle 9">
            <a:extLst>
              <a:ext uri="{FF2B5EF4-FFF2-40B4-BE49-F238E27FC236}">
                <a16:creationId xmlns:a16="http://schemas.microsoft.com/office/drawing/2014/main" xmlns="" id="{06FFFEE1-1B34-4854-AB2D-528EB732A480}"/>
              </a:ext>
            </a:extLst>
          </p:cNvPr>
          <p:cNvSpPr txBox="1">
            <a:spLocks/>
          </p:cNvSpPr>
          <p:nvPr/>
        </p:nvSpPr>
        <p:spPr>
          <a:xfrm>
            <a:off x="1879051" y="4307542"/>
            <a:ext cx="3189377" cy="108970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>
                <a:solidFill>
                  <a:schemeClr val="accent2">
                    <a:lumMod val="50000"/>
                  </a:schemeClr>
                </a:solidFill>
              </a:rPr>
              <a:t>Nom de l’orateur</a:t>
            </a:r>
          </a:p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 i="1">
                <a:solidFill>
                  <a:schemeClr val="accent2">
                    <a:lumMod val="50000"/>
                  </a:schemeClr>
                </a:solidFill>
              </a:rPr>
              <a:t>Nutrithérapeute</a:t>
            </a:r>
          </a:p>
        </p:txBody>
      </p:sp>
      <p:sp>
        <p:nvSpPr>
          <p:cNvPr id="17" name="Subtitle 9">
            <a:extLst>
              <a:ext uri="{FF2B5EF4-FFF2-40B4-BE49-F238E27FC236}">
                <a16:creationId xmlns:a16="http://schemas.microsoft.com/office/drawing/2014/main" xmlns="" id="{3228A6A7-59D6-4853-847E-8E3E44EB3BAF}"/>
              </a:ext>
            </a:extLst>
          </p:cNvPr>
          <p:cNvSpPr txBox="1">
            <a:spLocks/>
          </p:cNvSpPr>
          <p:nvPr/>
        </p:nvSpPr>
        <p:spPr>
          <a:xfrm>
            <a:off x="3635214" y="6906359"/>
            <a:ext cx="3189377" cy="108970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800" b="1">
                <a:solidFill>
                  <a:schemeClr val="tx1"/>
                </a:solidFill>
              </a:rPr>
              <a:t>Organisée par l’Ecole Blablabla</a:t>
            </a:r>
          </a:p>
        </p:txBody>
      </p:sp>
      <p:sp>
        <p:nvSpPr>
          <p:cNvPr id="18" name="Subtitle 9">
            <a:extLst>
              <a:ext uri="{FF2B5EF4-FFF2-40B4-BE49-F238E27FC236}">
                <a16:creationId xmlns:a16="http://schemas.microsoft.com/office/drawing/2014/main" xmlns="" id="{D9A239DE-210F-4C79-8FFC-03F9F1E06452}"/>
              </a:ext>
            </a:extLst>
          </p:cNvPr>
          <p:cNvSpPr txBox="1">
            <a:spLocks/>
          </p:cNvSpPr>
          <p:nvPr/>
        </p:nvSpPr>
        <p:spPr>
          <a:xfrm>
            <a:off x="198968" y="6961265"/>
            <a:ext cx="3722198" cy="68997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F: 5 euros</a:t>
            </a:r>
          </a:p>
          <a:p>
            <a:pPr marL="51435" indent="0">
              <a:spcBef>
                <a:spcPts val="600"/>
              </a:spcBef>
              <a:buClrTx/>
              <a:buSzTx/>
              <a:buNone/>
              <a:defRPr/>
            </a:pPr>
            <a:r>
              <a:rPr lang="fr-B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u: rue de la rue, 5 à Vis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954B3E9-5E80-4CD1-B8B0-51164E763382}"/>
              </a:ext>
            </a:extLst>
          </p:cNvPr>
          <p:cNvSpPr/>
          <p:nvPr/>
        </p:nvSpPr>
        <p:spPr>
          <a:xfrm>
            <a:off x="0" y="6011369"/>
            <a:ext cx="6858000" cy="1448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EB560D7-BA6E-41C7-84D3-3F9BDC8203A5}"/>
              </a:ext>
            </a:extLst>
          </p:cNvPr>
          <p:cNvSpPr txBox="1"/>
          <p:nvPr/>
        </p:nvSpPr>
        <p:spPr>
          <a:xfrm>
            <a:off x="1190071" y="5720311"/>
            <a:ext cx="489028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3600" b="1" dirty="0"/>
              <a:t>Mardi 04 Mars à 19h30</a:t>
            </a:r>
          </a:p>
        </p:txBody>
      </p:sp>
      <p:sp>
        <p:nvSpPr>
          <p:cNvPr id="20" name="Subtitle 9">
            <a:extLst>
              <a:ext uri="{FF2B5EF4-FFF2-40B4-BE49-F238E27FC236}">
                <a16:creationId xmlns:a16="http://schemas.microsoft.com/office/drawing/2014/main" xmlns="" id="{80688C55-589B-49BE-ABAB-6910960003C9}"/>
              </a:ext>
            </a:extLst>
          </p:cNvPr>
          <p:cNvSpPr txBox="1">
            <a:spLocks/>
          </p:cNvSpPr>
          <p:nvPr/>
        </p:nvSpPr>
        <p:spPr>
          <a:xfrm>
            <a:off x="198968" y="7996394"/>
            <a:ext cx="3722198" cy="869129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60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ervation / Info (places limitées):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24 / 56 78 89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leblabal@xmail.be</a:t>
            </a:r>
          </a:p>
        </p:txBody>
      </p:sp>
      <p:pic>
        <p:nvPicPr>
          <p:cNvPr id="21" name="Image 10" descr="CFNA - LOGO.png">
            <a:extLst>
              <a:ext uri="{FF2B5EF4-FFF2-40B4-BE49-F238E27FC236}">
                <a16:creationId xmlns:a16="http://schemas.microsoft.com/office/drawing/2014/main" xmlns="" id="{554A9399-E783-4631-BE17-F952C8ABF0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9120" y="7915596"/>
            <a:ext cx="1933076" cy="98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77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6586B94E-4C08-4478-9D83-83B715F19D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6586B94E-4C08-4478-9D83-83B715F19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itelbalk.jpg">
            <a:extLst>
              <a:ext uri="{FF2B5EF4-FFF2-40B4-BE49-F238E27FC236}">
                <a16:creationId xmlns:a16="http://schemas.microsoft.com/office/drawing/2014/main" xmlns="" id="{512310EB-0DB6-4C30-8D43-2B0D35BD0DA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/>
          </a:blip>
          <a:srcRect l="-1" r="-231"/>
          <a:stretch/>
        </p:blipFill>
        <p:spPr>
          <a:xfrm>
            <a:off x="-47913" y="3258428"/>
            <a:ext cx="6905914" cy="8283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xmlns="" id="{C1CCCFB2-1F53-42A8-9EBF-94E24A36E1F0}"/>
              </a:ext>
            </a:extLst>
          </p:cNvPr>
          <p:cNvSpPr txBox="1">
            <a:spLocks/>
          </p:cNvSpPr>
          <p:nvPr/>
        </p:nvSpPr>
        <p:spPr>
          <a:xfrm>
            <a:off x="219128" y="256692"/>
            <a:ext cx="3452337" cy="8238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24637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onférenc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xmlns="" id="{3426153B-898B-489B-ACB2-B16CD59AB596}"/>
              </a:ext>
            </a:extLst>
          </p:cNvPr>
          <p:cNvSpPr txBox="1">
            <a:spLocks/>
          </p:cNvSpPr>
          <p:nvPr/>
        </p:nvSpPr>
        <p:spPr>
          <a:xfrm>
            <a:off x="527851" y="1430322"/>
            <a:ext cx="5754383" cy="146806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225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sz="4800" dirty="0">
                <a:solidFill>
                  <a:srgbClr val="CC5439"/>
                </a:solidFill>
              </a:rPr>
              <a:t>Nutrithérapie </a:t>
            </a:r>
            <a:br>
              <a:rPr lang="fr-FR" sz="4800" dirty="0">
                <a:solidFill>
                  <a:srgbClr val="CC5439"/>
                </a:solidFill>
              </a:rPr>
            </a:br>
            <a:r>
              <a:rPr lang="fr-FR" sz="4800" dirty="0">
                <a:solidFill>
                  <a:srgbClr val="CC5439"/>
                </a:solidFill>
              </a:rPr>
              <a:t>	&amp; Prévention Santé</a:t>
            </a:r>
            <a:endParaRPr lang="fr-BE" sz="4800" dirty="0"/>
          </a:p>
        </p:txBody>
      </p:sp>
      <p:sp>
        <p:nvSpPr>
          <p:cNvPr id="15" name="Subtitle 9">
            <a:extLst>
              <a:ext uri="{FF2B5EF4-FFF2-40B4-BE49-F238E27FC236}">
                <a16:creationId xmlns:a16="http://schemas.microsoft.com/office/drawing/2014/main" xmlns="" id="{06FFFEE1-1B34-4854-AB2D-528EB732A480}"/>
              </a:ext>
            </a:extLst>
          </p:cNvPr>
          <p:cNvSpPr txBox="1">
            <a:spLocks/>
          </p:cNvSpPr>
          <p:nvPr/>
        </p:nvSpPr>
        <p:spPr>
          <a:xfrm>
            <a:off x="1879051" y="4307542"/>
            <a:ext cx="3189377" cy="108970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>
                <a:solidFill>
                  <a:schemeClr val="accent2">
                    <a:lumMod val="50000"/>
                  </a:schemeClr>
                </a:solidFill>
              </a:rPr>
              <a:t>Nom de l’orateur</a:t>
            </a:r>
          </a:p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 i="1">
                <a:solidFill>
                  <a:schemeClr val="accent2">
                    <a:lumMod val="50000"/>
                  </a:schemeClr>
                </a:solidFill>
              </a:rPr>
              <a:t>Nutrithérapeute</a:t>
            </a:r>
          </a:p>
        </p:txBody>
      </p:sp>
      <p:sp>
        <p:nvSpPr>
          <p:cNvPr id="17" name="Subtitle 9">
            <a:extLst>
              <a:ext uri="{FF2B5EF4-FFF2-40B4-BE49-F238E27FC236}">
                <a16:creationId xmlns:a16="http://schemas.microsoft.com/office/drawing/2014/main" xmlns="" id="{3228A6A7-59D6-4853-847E-8E3E44EB3BAF}"/>
              </a:ext>
            </a:extLst>
          </p:cNvPr>
          <p:cNvSpPr txBox="1">
            <a:spLocks/>
          </p:cNvSpPr>
          <p:nvPr/>
        </p:nvSpPr>
        <p:spPr>
          <a:xfrm>
            <a:off x="3635214" y="6906359"/>
            <a:ext cx="3189377" cy="108970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800" b="1">
                <a:solidFill>
                  <a:schemeClr val="tx1"/>
                </a:solidFill>
              </a:rPr>
              <a:t>Organisée par l’Ecole Blablabla</a:t>
            </a:r>
          </a:p>
        </p:txBody>
      </p:sp>
      <p:sp>
        <p:nvSpPr>
          <p:cNvPr id="18" name="Subtitle 9">
            <a:extLst>
              <a:ext uri="{FF2B5EF4-FFF2-40B4-BE49-F238E27FC236}">
                <a16:creationId xmlns:a16="http://schemas.microsoft.com/office/drawing/2014/main" xmlns="" id="{D9A239DE-210F-4C79-8FFC-03F9F1E06452}"/>
              </a:ext>
            </a:extLst>
          </p:cNvPr>
          <p:cNvSpPr txBox="1">
            <a:spLocks/>
          </p:cNvSpPr>
          <p:nvPr/>
        </p:nvSpPr>
        <p:spPr>
          <a:xfrm>
            <a:off x="198968" y="6961265"/>
            <a:ext cx="3722198" cy="68997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F: 5 euros</a:t>
            </a:r>
          </a:p>
          <a:p>
            <a:pPr marL="51435" indent="0">
              <a:spcBef>
                <a:spcPts val="600"/>
              </a:spcBef>
              <a:buClrTx/>
              <a:buSzTx/>
              <a:buNone/>
              <a:defRPr/>
            </a:pPr>
            <a:r>
              <a:rPr lang="fr-B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u: rue de la rue, 5 à Vis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954B3E9-5E80-4CD1-B8B0-51164E763382}"/>
              </a:ext>
            </a:extLst>
          </p:cNvPr>
          <p:cNvSpPr/>
          <p:nvPr/>
        </p:nvSpPr>
        <p:spPr>
          <a:xfrm>
            <a:off x="0" y="6011369"/>
            <a:ext cx="6858000" cy="1448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EB560D7-BA6E-41C7-84D3-3F9BDC8203A5}"/>
              </a:ext>
            </a:extLst>
          </p:cNvPr>
          <p:cNvSpPr txBox="1"/>
          <p:nvPr/>
        </p:nvSpPr>
        <p:spPr>
          <a:xfrm>
            <a:off x="1190071" y="5720311"/>
            <a:ext cx="489028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3600" b="1" dirty="0"/>
              <a:t>Mardi 04 Mars à 19h30</a:t>
            </a:r>
          </a:p>
        </p:txBody>
      </p:sp>
      <p:sp>
        <p:nvSpPr>
          <p:cNvPr id="20" name="Subtitle 9">
            <a:extLst>
              <a:ext uri="{FF2B5EF4-FFF2-40B4-BE49-F238E27FC236}">
                <a16:creationId xmlns:a16="http://schemas.microsoft.com/office/drawing/2014/main" xmlns="" id="{80688C55-589B-49BE-ABAB-6910960003C9}"/>
              </a:ext>
            </a:extLst>
          </p:cNvPr>
          <p:cNvSpPr txBox="1">
            <a:spLocks/>
          </p:cNvSpPr>
          <p:nvPr/>
        </p:nvSpPr>
        <p:spPr>
          <a:xfrm>
            <a:off x="198968" y="7996394"/>
            <a:ext cx="3722198" cy="869129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60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ervation / Info (places limitées):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24 / 56 78 89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leblabal@xmail.be</a:t>
            </a:r>
          </a:p>
        </p:txBody>
      </p:sp>
      <p:pic>
        <p:nvPicPr>
          <p:cNvPr id="13" name="Capture d’écran 2017-04-25 à 21.19.02.png">
            <a:extLst>
              <a:ext uri="{FF2B5EF4-FFF2-40B4-BE49-F238E27FC236}">
                <a16:creationId xmlns:a16="http://schemas.microsoft.com/office/drawing/2014/main" xmlns="" id="{9475BE48-5BE4-40DC-BA59-466B81AF0E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4715056" y="381367"/>
            <a:ext cx="1643246" cy="804409"/>
          </a:xfrm>
          <a:prstGeom prst="rect">
            <a:avLst/>
          </a:prstGeom>
        </p:spPr>
      </p:pic>
      <p:pic>
        <p:nvPicPr>
          <p:cNvPr id="21" name="Image 10" descr="CFNA - LOGO.png">
            <a:extLst>
              <a:ext uri="{FF2B5EF4-FFF2-40B4-BE49-F238E27FC236}">
                <a16:creationId xmlns:a16="http://schemas.microsoft.com/office/drawing/2014/main" xmlns="" id="{835408E2-D1B0-40B0-86B3-0C48030423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09120" y="7915596"/>
            <a:ext cx="1933076" cy="98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7224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6586B94E-4C08-4478-9D83-83B715F19D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892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6586B94E-4C08-4478-9D83-83B715F19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Image 10" descr="CFNA - LOGO.png">
            <a:extLst>
              <a:ext uri="{FF2B5EF4-FFF2-40B4-BE49-F238E27FC236}">
                <a16:creationId xmlns:a16="http://schemas.microsoft.com/office/drawing/2014/main" xmlns="" id="{6886D306-FA26-4AE8-BEA9-68859D8907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1465" y="8063177"/>
            <a:ext cx="1933076" cy="983495"/>
          </a:xfrm>
          <a:prstGeom prst="rect">
            <a:avLst/>
          </a:prstGeom>
        </p:spPr>
      </p:pic>
      <p:pic>
        <p:nvPicPr>
          <p:cNvPr id="10" name="Titelbalk.jpg">
            <a:extLst>
              <a:ext uri="{FF2B5EF4-FFF2-40B4-BE49-F238E27FC236}">
                <a16:creationId xmlns:a16="http://schemas.microsoft.com/office/drawing/2014/main" xmlns="" id="{512310EB-0DB6-4C30-8D43-2B0D35BD0DA2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/>
          </a:blip>
          <a:srcRect l="-1" r="-231"/>
          <a:stretch/>
        </p:blipFill>
        <p:spPr>
          <a:xfrm>
            <a:off x="16706" y="5205806"/>
            <a:ext cx="6934130" cy="6850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xmlns="" id="{C1CCCFB2-1F53-42A8-9EBF-94E24A36E1F0}"/>
              </a:ext>
            </a:extLst>
          </p:cNvPr>
          <p:cNvSpPr txBox="1">
            <a:spLocks/>
          </p:cNvSpPr>
          <p:nvPr/>
        </p:nvSpPr>
        <p:spPr>
          <a:xfrm>
            <a:off x="219128" y="256692"/>
            <a:ext cx="3452337" cy="8238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5400" b="1" i="0" u="none" strike="noStrike" kern="1200" cap="none" spc="0" normalizeH="0" baseline="0">
                <a:ln>
                  <a:noFill/>
                </a:ln>
                <a:solidFill>
                  <a:srgbClr val="24637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onférenc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xmlns="" id="{3426153B-898B-489B-ACB2-B16CD59AB596}"/>
              </a:ext>
            </a:extLst>
          </p:cNvPr>
          <p:cNvSpPr txBox="1">
            <a:spLocks/>
          </p:cNvSpPr>
          <p:nvPr/>
        </p:nvSpPr>
        <p:spPr>
          <a:xfrm>
            <a:off x="620687" y="3311242"/>
            <a:ext cx="5754383" cy="146806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225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BE" sz="4800">
                <a:solidFill>
                  <a:srgbClr val="CC5439"/>
                </a:solidFill>
              </a:rPr>
              <a:t>Nutrithérapie </a:t>
            </a:r>
            <a:br>
              <a:rPr lang="fr-BE" sz="4800">
                <a:solidFill>
                  <a:srgbClr val="CC5439"/>
                </a:solidFill>
              </a:rPr>
            </a:br>
            <a:r>
              <a:rPr lang="fr-BE" sz="4800">
                <a:solidFill>
                  <a:srgbClr val="CC5439"/>
                </a:solidFill>
              </a:rPr>
              <a:t>	&amp; Prévention Santé</a:t>
            </a:r>
            <a:endParaRPr lang="fr-BE" sz="4800"/>
          </a:p>
        </p:txBody>
      </p:sp>
      <p:sp>
        <p:nvSpPr>
          <p:cNvPr id="15" name="Subtitle 9">
            <a:extLst>
              <a:ext uri="{FF2B5EF4-FFF2-40B4-BE49-F238E27FC236}">
                <a16:creationId xmlns:a16="http://schemas.microsoft.com/office/drawing/2014/main" xmlns="" id="{06FFFEE1-1B34-4854-AB2D-528EB732A480}"/>
              </a:ext>
            </a:extLst>
          </p:cNvPr>
          <p:cNvSpPr txBox="1">
            <a:spLocks/>
          </p:cNvSpPr>
          <p:nvPr/>
        </p:nvSpPr>
        <p:spPr>
          <a:xfrm>
            <a:off x="279577" y="1206752"/>
            <a:ext cx="3189377" cy="1089707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 dirty="0">
                <a:solidFill>
                  <a:schemeClr val="accent2">
                    <a:lumMod val="50000"/>
                  </a:schemeClr>
                </a:solidFill>
              </a:rPr>
              <a:t>Nom de l’orateur</a:t>
            </a:r>
          </a:p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400" b="1" i="1" dirty="0">
                <a:solidFill>
                  <a:schemeClr val="accent2">
                    <a:lumMod val="50000"/>
                  </a:schemeClr>
                </a:solidFill>
              </a:rPr>
              <a:t>Nutrithérapeute</a:t>
            </a:r>
          </a:p>
        </p:txBody>
      </p:sp>
      <p:sp>
        <p:nvSpPr>
          <p:cNvPr id="17" name="Subtitle 9">
            <a:extLst>
              <a:ext uri="{FF2B5EF4-FFF2-40B4-BE49-F238E27FC236}">
                <a16:creationId xmlns:a16="http://schemas.microsoft.com/office/drawing/2014/main" xmlns="" id="{3228A6A7-59D6-4853-847E-8E3E44EB3BAF}"/>
              </a:ext>
            </a:extLst>
          </p:cNvPr>
          <p:cNvSpPr txBox="1">
            <a:spLocks/>
          </p:cNvSpPr>
          <p:nvPr/>
        </p:nvSpPr>
        <p:spPr>
          <a:xfrm>
            <a:off x="705894" y="6308214"/>
            <a:ext cx="5688632" cy="517322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2800" b="1">
                <a:solidFill>
                  <a:schemeClr val="tx1"/>
                </a:solidFill>
              </a:rPr>
              <a:t>Organisée par l’Ecole Blablabla</a:t>
            </a:r>
          </a:p>
        </p:txBody>
      </p:sp>
      <p:sp>
        <p:nvSpPr>
          <p:cNvPr id="18" name="Subtitle 9">
            <a:extLst>
              <a:ext uri="{FF2B5EF4-FFF2-40B4-BE49-F238E27FC236}">
                <a16:creationId xmlns:a16="http://schemas.microsoft.com/office/drawing/2014/main" xmlns="" id="{D9A239DE-210F-4C79-8FFC-03F9F1E06452}"/>
              </a:ext>
            </a:extLst>
          </p:cNvPr>
          <p:cNvSpPr txBox="1">
            <a:spLocks/>
          </p:cNvSpPr>
          <p:nvPr/>
        </p:nvSpPr>
        <p:spPr>
          <a:xfrm>
            <a:off x="306449" y="7242852"/>
            <a:ext cx="3960440" cy="425492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u: rue de la rue, 5 à Visé</a:t>
            </a:r>
            <a:endParaRPr lang="fr-BE" sz="1600" b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954B3E9-5E80-4CD1-B8B0-51164E763382}"/>
              </a:ext>
            </a:extLst>
          </p:cNvPr>
          <p:cNvSpPr/>
          <p:nvPr/>
        </p:nvSpPr>
        <p:spPr>
          <a:xfrm>
            <a:off x="16706" y="2664911"/>
            <a:ext cx="6858000" cy="1448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EB560D7-BA6E-41C7-84D3-3F9BDC8203A5}"/>
              </a:ext>
            </a:extLst>
          </p:cNvPr>
          <p:cNvSpPr txBox="1"/>
          <p:nvPr/>
        </p:nvSpPr>
        <p:spPr>
          <a:xfrm>
            <a:off x="1206777" y="2373853"/>
            <a:ext cx="489028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3600" b="1"/>
              <a:t>Mardi 04 Mars à 19h30</a:t>
            </a:r>
          </a:p>
        </p:txBody>
      </p:sp>
      <p:sp>
        <p:nvSpPr>
          <p:cNvPr id="20" name="Subtitle 9">
            <a:extLst>
              <a:ext uri="{FF2B5EF4-FFF2-40B4-BE49-F238E27FC236}">
                <a16:creationId xmlns:a16="http://schemas.microsoft.com/office/drawing/2014/main" xmlns="" id="{A948B012-6E8F-41AB-9973-686ACFBF37C5}"/>
              </a:ext>
            </a:extLst>
          </p:cNvPr>
          <p:cNvSpPr txBox="1">
            <a:spLocks/>
          </p:cNvSpPr>
          <p:nvPr/>
        </p:nvSpPr>
        <p:spPr>
          <a:xfrm>
            <a:off x="306449" y="7766322"/>
            <a:ext cx="6367667" cy="517322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>
              <a:spcBef>
                <a:spcPts val="60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ervation / Info (places limitées):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24 / 56 78 89</a:t>
            </a:r>
          </a:p>
          <a:p>
            <a:pPr marL="182563" indent="0">
              <a:spcBef>
                <a:spcPts val="0"/>
              </a:spcBef>
              <a:buClrTx/>
              <a:buSzTx/>
              <a:buNone/>
              <a:defRPr/>
            </a:pPr>
            <a:r>
              <a:rPr lang="fr-BE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leblabal@xmail.b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6258DED0-E2FA-474C-A0A2-FAF7D01FE574}"/>
              </a:ext>
            </a:extLst>
          </p:cNvPr>
          <p:cNvSpPr/>
          <p:nvPr/>
        </p:nvSpPr>
        <p:spPr>
          <a:xfrm rot="398508">
            <a:off x="4726093" y="7209347"/>
            <a:ext cx="1272656" cy="8575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7" name="Subtitle 9">
            <a:extLst>
              <a:ext uri="{FF2B5EF4-FFF2-40B4-BE49-F238E27FC236}">
                <a16:creationId xmlns:a16="http://schemas.microsoft.com/office/drawing/2014/main" xmlns="" id="{BD912587-CADF-4776-91E5-190408635903}"/>
              </a:ext>
            </a:extLst>
          </p:cNvPr>
          <p:cNvSpPr txBox="1">
            <a:spLocks/>
          </p:cNvSpPr>
          <p:nvPr/>
        </p:nvSpPr>
        <p:spPr>
          <a:xfrm rot="398508">
            <a:off x="4673010" y="7316376"/>
            <a:ext cx="1410414" cy="425492"/>
          </a:xfrm>
          <a:prstGeom prst="rect">
            <a:avLst/>
          </a:prstGeom>
        </p:spPr>
        <p:txBody>
          <a:bodyPr/>
          <a:lstStyle>
            <a:lvl1pPr marL="257175" indent="-205740" algn="l" defTabSz="685800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76000"/>
              <a:buFont typeface="Courier New" panose="02070309020205020404" pitchFamily="49" charset="0"/>
              <a:buChar char="o"/>
              <a:defRPr sz="150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1pPr>
            <a:lvl2pPr marL="480060" indent="-20574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3pPr>
            <a:lvl4pPr marL="843534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4pPr>
            <a:lvl5pPr marL="994410" indent="-171450" algn="l" defTabSz="685800" rtl="0" eaLnBrk="1" latinLnBrk="0" hangingPunct="1">
              <a:spcBef>
                <a:spcPts val="0"/>
              </a:spcBef>
              <a:buClr>
                <a:schemeClr val="bg1">
                  <a:lumMod val="50000"/>
                </a:schemeClr>
              </a:buClr>
              <a:buSzPct val="76000"/>
              <a:buFont typeface="Arial" panose="020B0604020202020204" pitchFamily="34" charset="0"/>
              <a:buChar char="•"/>
              <a:defRPr sz="1350" kern="1200" baseline="0">
                <a:solidFill>
                  <a:srgbClr val="24213E"/>
                </a:solidFill>
                <a:latin typeface="+mn-lt"/>
                <a:ea typeface="+mn-ea"/>
                <a:cs typeface="+mn-cs"/>
              </a:defRPr>
            </a:lvl5pPr>
            <a:lvl6pPr marL="1138428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9304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40180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91056" indent="-171450" algn="l" defTabSz="685800" rtl="0" eaLnBrk="1" latinLnBrk="0" hangingPunct="1">
              <a:spcBef>
                <a:spcPct val="20000"/>
              </a:spcBef>
              <a:buClr>
                <a:schemeClr val="accent1"/>
              </a:buClr>
              <a:buSzPct val="76000"/>
              <a:buFont typeface="Wingdings 2" pitchFamily="18" charset="2"/>
              <a:buChar char="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1800" b="1">
                <a:solidFill>
                  <a:schemeClr val="tx1"/>
                </a:solidFill>
              </a:rPr>
              <a:t>Entrée</a:t>
            </a:r>
          </a:p>
          <a:p>
            <a:pPr marL="51435" indent="0" algn="ctr">
              <a:spcBef>
                <a:spcPts val="0"/>
              </a:spcBef>
              <a:buClrTx/>
              <a:buSzTx/>
              <a:buNone/>
              <a:defRPr/>
            </a:pPr>
            <a:r>
              <a:rPr lang="fr-BE" sz="1800" b="1">
                <a:solidFill>
                  <a:schemeClr val="tx1"/>
                </a:solidFill>
              </a:rPr>
              <a:t>5€</a:t>
            </a:r>
          </a:p>
        </p:txBody>
      </p:sp>
      <p:pic>
        <p:nvPicPr>
          <p:cNvPr id="21" name="Capture d’écran 2017-04-25 à 21.19.02.png">
            <a:extLst>
              <a:ext uri="{FF2B5EF4-FFF2-40B4-BE49-F238E27FC236}">
                <a16:creationId xmlns:a16="http://schemas.microsoft.com/office/drawing/2014/main" xmlns="" id="{274687DB-CC54-47BA-908E-6053F9B37D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4715056" y="381367"/>
            <a:ext cx="1643246" cy="80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787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DNF">
  <a:themeElements>
    <a:clrScheme name="Custom 3">
      <a:dk1>
        <a:srgbClr val="24213E"/>
      </a:dk1>
      <a:lt1>
        <a:sysClr val="window" lastClr="FFFFFF"/>
      </a:lt1>
      <a:dk2>
        <a:srgbClr val="24213E"/>
      </a:dk2>
      <a:lt2>
        <a:srgbClr val="E9EAF0"/>
      </a:lt2>
      <a:accent1>
        <a:srgbClr val="E8BC4A"/>
      </a:accent1>
      <a:accent2>
        <a:srgbClr val="83C1C6"/>
      </a:accent2>
      <a:accent3>
        <a:srgbClr val="E78D35"/>
      </a:accent3>
      <a:accent4>
        <a:srgbClr val="909CE1"/>
      </a:accent4>
      <a:accent5>
        <a:srgbClr val="839C41"/>
      </a:accent5>
      <a:accent6>
        <a:srgbClr val="CC5439"/>
      </a:accent6>
      <a:hlink>
        <a:srgbClr val="1C6CF1"/>
      </a:hlink>
      <a:folHlink>
        <a:srgbClr val="C649E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94000"/>
                <a:satMod val="114000"/>
                <a:lumMod val="96000"/>
              </a:schemeClr>
            </a:gs>
            <a:gs pos="62000">
              <a:schemeClr val="phClr">
                <a:tint val="92000"/>
                <a:shade val="66000"/>
                <a:satMod val="110000"/>
                <a:lumMod val="80000"/>
              </a:schemeClr>
            </a:gs>
            <a:gs pos="100000">
              <a:schemeClr val="phClr">
                <a:tint val="89000"/>
                <a:shade val="62000"/>
                <a:satMod val="110000"/>
                <a:lumMod val="72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80000"/>
                <a:shade val="58000"/>
              </a:schemeClr>
              <a:schemeClr val="phClr">
                <a:tint val="73000"/>
                <a:shade val="68000"/>
                <a:satMod val="15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</Words>
  <Application>Microsoft Macintosh PowerPoint</Application>
  <PresentationFormat>Présentation à l'écran (4:3)</PresentationFormat>
  <Paragraphs>34</Paragraphs>
  <Slides>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5" baseType="lpstr">
      <vt:lpstr>UDNF</vt:lpstr>
      <vt:lpstr>think-cell Slide</vt:lpstr>
      <vt:lpstr>Présentation PowerPoint</vt:lpstr>
      <vt:lpstr>Présentation PowerPoint</vt:lpstr>
      <vt:lpstr>Présentation PowerPoint</vt:lpstr>
    </vt:vector>
  </TitlesOfParts>
  <Company>GlaxoSmithKline Biological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ia Bourguignon</dc:creator>
  <cp:lastModifiedBy>Isabelle Rome</cp:lastModifiedBy>
  <cp:revision>57</cp:revision>
  <dcterms:created xsi:type="dcterms:W3CDTF">2018-03-21T09:12:05Z</dcterms:created>
  <dcterms:modified xsi:type="dcterms:W3CDTF">2019-04-25T12:17:27Z</dcterms:modified>
</cp:coreProperties>
</file>